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739A26F-BA62-43F5-BB2E-BAD18703CE1E}" v="50" dt="2023-03-14T23:41:56.65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6" d="100"/>
          <a:sy n="116" d="100"/>
        </p:scale>
        <p:origin x="120" y="444"/>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B739A26F-BA62-43F5-BB2E-BAD18703CE1E}"/>
    <pc:docChg chg="custSel modSld">
      <pc:chgData name="Roberto Gallardo" userId="49a044883f185952" providerId="LiveId" clId="{B739A26F-BA62-43F5-BB2E-BAD18703CE1E}" dt="2023-03-14T23:42:06.592" v="180" actId="1076"/>
      <pc:docMkLst>
        <pc:docMk/>
      </pc:docMkLst>
      <pc:sldChg chg="addSp modSp mod">
        <pc:chgData name="Roberto Gallardo" userId="49a044883f185952" providerId="LiveId" clId="{B739A26F-BA62-43F5-BB2E-BAD18703CE1E}" dt="2023-03-14T23:36:09.961" v="12" actId="1035"/>
        <pc:sldMkLst>
          <pc:docMk/>
          <pc:sldMk cId="1418533539" sldId="271"/>
        </pc:sldMkLst>
        <pc:picChg chg="add mod">
          <ac:chgData name="Roberto Gallardo" userId="49a044883f185952" providerId="LiveId" clId="{B739A26F-BA62-43F5-BB2E-BAD18703CE1E}" dt="2023-03-14T23:36:09.961" v="12" actId="1035"/>
          <ac:picMkLst>
            <pc:docMk/>
            <pc:sldMk cId="1418533539" sldId="271"/>
            <ac:picMk id="6" creationId="{5E6F1688-81D1-0F49-6CD0-060416CC7057}"/>
          </ac:picMkLst>
        </pc:picChg>
      </pc:sldChg>
      <pc:sldChg chg="addSp modSp mod">
        <pc:chgData name="Roberto Gallardo" userId="49a044883f185952" providerId="LiveId" clId="{B739A26F-BA62-43F5-BB2E-BAD18703CE1E}" dt="2023-03-14T23:38:32.940" v="66" actId="1076"/>
        <pc:sldMkLst>
          <pc:docMk/>
          <pc:sldMk cId="2124848710" sldId="281"/>
        </pc:sldMkLst>
        <pc:picChg chg="add mod">
          <ac:chgData name="Roberto Gallardo" userId="49a044883f185952" providerId="LiveId" clId="{B739A26F-BA62-43F5-BB2E-BAD18703CE1E}" dt="2023-03-14T23:38:32.940" v="66" actId="1076"/>
          <ac:picMkLst>
            <pc:docMk/>
            <pc:sldMk cId="2124848710" sldId="281"/>
            <ac:picMk id="6" creationId="{19680903-048B-4826-F040-3AB60E62A973}"/>
          </ac:picMkLst>
        </pc:picChg>
      </pc:sldChg>
      <pc:sldChg chg="addSp modSp mod">
        <pc:chgData name="Roberto Gallardo" userId="49a044883f185952" providerId="LiveId" clId="{B739A26F-BA62-43F5-BB2E-BAD18703CE1E}" dt="2023-03-14T23:38:55.113" v="75" actId="1076"/>
        <pc:sldMkLst>
          <pc:docMk/>
          <pc:sldMk cId="2028175529" sldId="282"/>
        </pc:sldMkLst>
        <pc:picChg chg="add mod">
          <ac:chgData name="Roberto Gallardo" userId="49a044883f185952" providerId="LiveId" clId="{B739A26F-BA62-43F5-BB2E-BAD18703CE1E}" dt="2023-03-14T23:38:55.113" v="75" actId="1076"/>
          <ac:picMkLst>
            <pc:docMk/>
            <pc:sldMk cId="2028175529" sldId="282"/>
            <ac:picMk id="7" creationId="{1019291D-6003-FA09-A091-974EBE8FC1B3}"/>
          </ac:picMkLst>
        </pc:picChg>
      </pc:sldChg>
      <pc:sldChg chg="addSp modSp mod">
        <pc:chgData name="Roberto Gallardo" userId="49a044883f185952" providerId="LiveId" clId="{B739A26F-BA62-43F5-BB2E-BAD18703CE1E}" dt="2023-03-14T23:39:21.937" v="85" actId="1076"/>
        <pc:sldMkLst>
          <pc:docMk/>
          <pc:sldMk cId="1326517747" sldId="283"/>
        </pc:sldMkLst>
        <pc:picChg chg="add mod">
          <ac:chgData name="Roberto Gallardo" userId="49a044883f185952" providerId="LiveId" clId="{B739A26F-BA62-43F5-BB2E-BAD18703CE1E}" dt="2023-03-14T23:39:21.937" v="85" actId="1076"/>
          <ac:picMkLst>
            <pc:docMk/>
            <pc:sldMk cId="1326517747" sldId="283"/>
            <ac:picMk id="7" creationId="{5693CC52-9158-BCDB-4A67-1DFCB06AE636}"/>
          </ac:picMkLst>
        </pc:picChg>
      </pc:sldChg>
      <pc:sldChg chg="addSp modSp mod">
        <pc:chgData name="Roberto Gallardo" userId="49a044883f185952" providerId="LiveId" clId="{B739A26F-BA62-43F5-BB2E-BAD18703CE1E}" dt="2023-03-14T23:39:39.449" v="93" actId="1076"/>
        <pc:sldMkLst>
          <pc:docMk/>
          <pc:sldMk cId="783739251" sldId="284"/>
        </pc:sldMkLst>
        <pc:picChg chg="add mod">
          <ac:chgData name="Roberto Gallardo" userId="49a044883f185952" providerId="LiveId" clId="{B739A26F-BA62-43F5-BB2E-BAD18703CE1E}" dt="2023-03-14T23:39:39.449" v="93" actId="1076"/>
          <ac:picMkLst>
            <pc:docMk/>
            <pc:sldMk cId="783739251" sldId="284"/>
            <ac:picMk id="7" creationId="{44D01969-3D1B-93F6-3597-86A3C629371D}"/>
          </ac:picMkLst>
        </pc:picChg>
      </pc:sldChg>
      <pc:sldChg chg="addSp modSp mod">
        <pc:chgData name="Roberto Gallardo" userId="49a044883f185952" providerId="LiveId" clId="{B739A26F-BA62-43F5-BB2E-BAD18703CE1E}" dt="2023-03-14T23:39:55.144" v="102" actId="1076"/>
        <pc:sldMkLst>
          <pc:docMk/>
          <pc:sldMk cId="1676122233" sldId="285"/>
        </pc:sldMkLst>
        <pc:picChg chg="add mod">
          <ac:chgData name="Roberto Gallardo" userId="49a044883f185952" providerId="LiveId" clId="{B739A26F-BA62-43F5-BB2E-BAD18703CE1E}" dt="2023-03-14T23:39:55.144" v="102" actId="1076"/>
          <ac:picMkLst>
            <pc:docMk/>
            <pc:sldMk cId="1676122233" sldId="285"/>
            <ac:picMk id="7" creationId="{8A5415FE-7E77-FC27-6DAC-3A36FC5540C9}"/>
          </ac:picMkLst>
        </pc:picChg>
      </pc:sldChg>
      <pc:sldChg chg="addSp modSp mod">
        <pc:chgData name="Roberto Gallardo" userId="49a044883f185952" providerId="LiveId" clId="{B739A26F-BA62-43F5-BB2E-BAD18703CE1E}" dt="2023-03-14T23:40:14.043" v="111" actId="1076"/>
        <pc:sldMkLst>
          <pc:docMk/>
          <pc:sldMk cId="3100398757" sldId="286"/>
        </pc:sldMkLst>
        <pc:picChg chg="add mod">
          <ac:chgData name="Roberto Gallardo" userId="49a044883f185952" providerId="LiveId" clId="{B739A26F-BA62-43F5-BB2E-BAD18703CE1E}" dt="2023-03-14T23:40:14.043" v="111" actId="1076"/>
          <ac:picMkLst>
            <pc:docMk/>
            <pc:sldMk cId="3100398757" sldId="286"/>
            <ac:picMk id="7" creationId="{4E4B7635-8630-372F-B293-E6EBB84EEB12}"/>
          </ac:picMkLst>
        </pc:picChg>
      </pc:sldChg>
      <pc:sldChg chg="addSp modSp mod">
        <pc:chgData name="Roberto Gallardo" userId="49a044883f185952" providerId="LiveId" clId="{B739A26F-BA62-43F5-BB2E-BAD18703CE1E}" dt="2023-03-14T23:40:30.829" v="121" actId="1076"/>
        <pc:sldMkLst>
          <pc:docMk/>
          <pc:sldMk cId="1546475425" sldId="287"/>
        </pc:sldMkLst>
        <pc:picChg chg="add mod">
          <ac:chgData name="Roberto Gallardo" userId="49a044883f185952" providerId="LiveId" clId="{B739A26F-BA62-43F5-BB2E-BAD18703CE1E}" dt="2023-03-14T23:40:30.829" v="121" actId="1076"/>
          <ac:picMkLst>
            <pc:docMk/>
            <pc:sldMk cId="1546475425" sldId="287"/>
            <ac:picMk id="7" creationId="{7A1D1105-3992-02D4-093C-9142933A0D92}"/>
          </ac:picMkLst>
        </pc:picChg>
      </pc:sldChg>
      <pc:sldChg chg="addSp modSp mod">
        <pc:chgData name="Roberto Gallardo" userId="49a044883f185952" providerId="LiveId" clId="{B739A26F-BA62-43F5-BB2E-BAD18703CE1E}" dt="2023-03-14T23:41:02.773" v="142" actId="1076"/>
        <pc:sldMkLst>
          <pc:docMk/>
          <pc:sldMk cId="1380517306" sldId="288"/>
        </pc:sldMkLst>
        <pc:picChg chg="add mod">
          <ac:chgData name="Roberto Gallardo" userId="49a044883f185952" providerId="LiveId" clId="{B739A26F-BA62-43F5-BB2E-BAD18703CE1E}" dt="2023-03-14T23:41:02.773" v="142" actId="1076"/>
          <ac:picMkLst>
            <pc:docMk/>
            <pc:sldMk cId="1380517306" sldId="288"/>
            <ac:picMk id="7" creationId="{41953085-5979-0AD5-63B2-D9BA99C1CF00}"/>
          </ac:picMkLst>
        </pc:picChg>
      </pc:sldChg>
      <pc:sldChg chg="addSp modSp mod">
        <pc:chgData name="Roberto Gallardo" userId="49a044883f185952" providerId="LiveId" clId="{B739A26F-BA62-43F5-BB2E-BAD18703CE1E}" dt="2023-03-14T23:41:18.228" v="151" actId="1076"/>
        <pc:sldMkLst>
          <pc:docMk/>
          <pc:sldMk cId="1388671151" sldId="289"/>
        </pc:sldMkLst>
        <pc:picChg chg="add mod">
          <ac:chgData name="Roberto Gallardo" userId="49a044883f185952" providerId="LiveId" clId="{B739A26F-BA62-43F5-BB2E-BAD18703CE1E}" dt="2023-03-14T23:41:18.228" v="151" actId="1076"/>
          <ac:picMkLst>
            <pc:docMk/>
            <pc:sldMk cId="1388671151" sldId="289"/>
            <ac:picMk id="7" creationId="{070E52A5-1C87-88AF-C491-2EF042F6A3E4}"/>
          </ac:picMkLst>
        </pc:picChg>
      </pc:sldChg>
      <pc:sldChg chg="addSp modSp mod">
        <pc:chgData name="Roberto Gallardo" userId="49a044883f185952" providerId="LiveId" clId="{B739A26F-BA62-43F5-BB2E-BAD18703CE1E}" dt="2023-03-14T23:41:50.189" v="169" actId="1076"/>
        <pc:sldMkLst>
          <pc:docMk/>
          <pc:sldMk cId="2355376039" sldId="290"/>
        </pc:sldMkLst>
        <pc:picChg chg="add mod">
          <ac:chgData name="Roberto Gallardo" userId="49a044883f185952" providerId="LiveId" clId="{B739A26F-BA62-43F5-BB2E-BAD18703CE1E}" dt="2023-03-14T23:41:50.189" v="169" actId="1076"/>
          <ac:picMkLst>
            <pc:docMk/>
            <pc:sldMk cId="2355376039" sldId="290"/>
            <ac:picMk id="8" creationId="{D5E82322-C69F-B125-2FC4-08478B4BF1F5}"/>
          </ac:picMkLst>
        </pc:picChg>
      </pc:sldChg>
      <pc:sldChg chg="addSp modSp mod">
        <pc:chgData name="Roberto Gallardo" userId="49a044883f185952" providerId="LiveId" clId="{B739A26F-BA62-43F5-BB2E-BAD18703CE1E}" dt="2023-03-14T23:42:06.592" v="180" actId="1076"/>
        <pc:sldMkLst>
          <pc:docMk/>
          <pc:sldMk cId="3757257295" sldId="291"/>
        </pc:sldMkLst>
        <pc:picChg chg="add mod">
          <ac:chgData name="Roberto Gallardo" userId="49a044883f185952" providerId="LiveId" clId="{B739A26F-BA62-43F5-BB2E-BAD18703CE1E}" dt="2023-03-14T23:42:06.592" v="180" actId="1076"/>
          <ac:picMkLst>
            <pc:docMk/>
            <pc:sldMk cId="3757257295" sldId="291"/>
            <ac:picMk id="8" creationId="{1C089692-F484-0BB9-C61E-D22E262C93C9}"/>
          </ac:picMkLst>
        </pc:picChg>
      </pc:sldChg>
      <pc:sldChg chg="addSp modSp mod">
        <pc:chgData name="Roberto Gallardo" userId="49a044883f185952" providerId="LiveId" clId="{B739A26F-BA62-43F5-BB2E-BAD18703CE1E}" dt="2023-03-14T23:40:48.189" v="133" actId="1076"/>
        <pc:sldMkLst>
          <pc:docMk/>
          <pc:sldMk cId="1259856727" sldId="292"/>
        </pc:sldMkLst>
        <pc:picChg chg="add mod">
          <ac:chgData name="Roberto Gallardo" userId="49a044883f185952" providerId="LiveId" clId="{B739A26F-BA62-43F5-BB2E-BAD18703CE1E}" dt="2023-03-14T23:40:48.189" v="133" actId="1076"/>
          <ac:picMkLst>
            <pc:docMk/>
            <pc:sldMk cId="1259856727" sldId="292"/>
            <ac:picMk id="7" creationId="{DE7DBAB0-C867-2A3A-3FF8-4BF80F1D3C49}"/>
          </ac:picMkLst>
        </pc:picChg>
      </pc:sldChg>
      <pc:sldChg chg="addSp modSp mod">
        <pc:chgData name="Roberto Gallardo" userId="49a044883f185952" providerId="LiveId" clId="{B739A26F-BA62-43F5-BB2E-BAD18703CE1E}" dt="2023-03-14T23:38:10.435" v="57" actId="1076"/>
        <pc:sldMkLst>
          <pc:docMk/>
          <pc:sldMk cId="3324519687" sldId="293"/>
        </pc:sldMkLst>
        <pc:picChg chg="add mod">
          <ac:chgData name="Roberto Gallardo" userId="49a044883f185952" providerId="LiveId" clId="{B739A26F-BA62-43F5-BB2E-BAD18703CE1E}" dt="2023-03-14T23:38:10.435" v="57" actId="1076"/>
          <ac:picMkLst>
            <pc:docMk/>
            <pc:sldMk cId="3324519687" sldId="293"/>
            <ac:picMk id="6" creationId="{93A16A40-F0BE-507C-0857-DA459349324F}"/>
          </ac:picMkLst>
        </pc:picChg>
      </pc:sldChg>
      <pc:sldChg chg="addSp modSp mod">
        <pc:chgData name="Roberto Gallardo" userId="49a044883f185952" providerId="LiveId" clId="{B739A26F-BA62-43F5-BB2E-BAD18703CE1E}" dt="2023-03-14T23:37:07.125" v="37" actId="1076"/>
        <pc:sldMkLst>
          <pc:docMk/>
          <pc:sldMk cId="3256182630" sldId="295"/>
        </pc:sldMkLst>
        <pc:picChg chg="add mod">
          <ac:chgData name="Roberto Gallardo" userId="49a044883f185952" providerId="LiveId" clId="{B739A26F-BA62-43F5-BB2E-BAD18703CE1E}" dt="2023-03-14T23:37:07.125" v="37" actId="1076"/>
          <ac:picMkLst>
            <pc:docMk/>
            <pc:sldMk cId="3256182630" sldId="295"/>
            <ac:picMk id="7" creationId="{744B61F9-FACC-AB02-D549-7ED9B566F9F0}"/>
          </ac:picMkLst>
        </pc:picChg>
      </pc:sldChg>
      <pc:sldChg chg="addSp delSp modSp mod">
        <pc:chgData name="Roberto Gallardo" userId="49a044883f185952" providerId="LiveId" clId="{B739A26F-BA62-43F5-BB2E-BAD18703CE1E}" dt="2023-03-14T23:37:58.814" v="49" actId="21"/>
        <pc:sldMkLst>
          <pc:docMk/>
          <pc:sldMk cId="4057156843" sldId="296"/>
        </pc:sldMkLst>
        <pc:picChg chg="add mod">
          <ac:chgData name="Roberto Gallardo" userId="49a044883f185952" providerId="LiveId" clId="{B739A26F-BA62-43F5-BB2E-BAD18703CE1E}" dt="2023-03-14T23:37:29.238" v="45" actId="1076"/>
          <ac:picMkLst>
            <pc:docMk/>
            <pc:sldMk cId="4057156843" sldId="296"/>
            <ac:picMk id="7" creationId="{E0876837-702E-6413-5647-9ECFCD558521}"/>
          </ac:picMkLst>
        </pc:picChg>
        <pc:picChg chg="add del mod">
          <ac:chgData name="Roberto Gallardo" userId="49a044883f185952" providerId="LiveId" clId="{B739A26F-BA62-43F5-BB2E-BAD18703CE1E}" dt="2023-03-14T23:37:58.814" v="49" actId="21"/>
          <ac:picMkLst>
            <pc:docMk/>
            <pc:sldMk cId="4057156843" sldId="296"/>
            <ac:picMk id="9" creationId="{6E95CB19-0D05-3CFA-BEAA-E64BC6E75EFA}"/>
          </ac:picMkLst>
        </pc:picChg>
      </pc:sldChg>
      <pc:sldChg chg="addSp modSp mod">
        <pc:chgData name="Roberto Gallardo" userId="49a044883f185952" providerId="LiveId" clId="{B739A26F-BA62-43F5-BB2E-BAD18703CE1E}" dt="2023-03-14T23:36:50.145" v="29" actId="1076"/>
        <pc:sldMkLst>
          <pc:docMk/>
          <pc:sldMk cId="2080110827" sldId="297"/>
        </pc:sldMkLst>
        <pc:picChg chg="add mod">
          <ac:chgData name="Roberto Gallardo" userId="49a044883f185952" providerId="LiveId" clId="{B739A26F-BA62-43F5-BB2E-BAD18703CE1E}" dt="2023-03-14T23:36:50.145" v="29" actId="1076"/>
          <ac:picMkLst>
            <pc:docMk/>
            <pc:sldMk cId="2080110827" sldId="297"/>
            <ac:picMk id="6" creationId="{60A0149A-26D4-FDAF-1351-F975F619FDAA}"/>
          </ac:picMkLst>
        </pc:picChg>
      </pc:sldChg>
      <pc:sldChg chg="addSp modSp mod">
        <pc:chgData name="Roberto Gallardo" userId="49a044883f185952" providerId="LiveId" clId="{B739A26F-BA62-43F5-BB2E-BAD18703CE1E}" dt="2023-03-14T23:36:28.521" v="20" actId="1076"/>
        <pc:sldMkLst>
          <pc:docMk/>
          <pc:sldMk cId="1532666867" sldId="298"/>
        </pc:sldMkLst>
        <pc:picChg chg="add mod">
          <ac:chgData name="Roberto Gallardo" userId="49a044883f185952" providerId="LiveId" clId="{B739A26F-BA62-43F5-BB2E-BAD18703CE1E}" dt="2023-03-14T23:36:28.521" v="20" actId="1076"/>
          <ac:picMkLst>
            <pc:docMk/>
            <pc:sldMk cId="1532666867" sldId="298"/>
            <ac:picMk id="6" creationId="{EFE1DE46-4E3D-DEC5-0BAC-7D970EE074AC}"/>
          </ac:picMkLst>
        </pc:picChg>
      </pc:sldChg>
      <pc:sldChg chg="addSp modSp mod">
        <pc:chgData name="Roberto Gallardo" userId="49a044883f185952" providerId="LiveId" clId="{B739A26F-BA62-43F5-BB2E-BAD18703CE1E}" dt="2023-03-14T23:41:35.136" v="160" actId="1076"/>
        <pc:sldMkLst>
          <pc:docMk/>
          <pc:sldMk cId="1951376777" sldId="299"/>
        </pc:sldMkLst>
        <pc:picChg chg="add mod">
          <ac:chgData name="Roberto Gallardo" userId="49a044883f185952" providerId="LiveId" clId="{B739A26F-BA62-43F5-BB2E-BAD18703CE1E}" dt="2023-03-14T23:41:35.136" v="160" actId="1076"/>
          <ac:picMkLst>
            <pc:docMk/>
            <pc:sldMk cId="1951376777" sldId="299"/>
            <ac:picMk id="7" creationId="{2CEC53D7-8C44-8278-6373-03DE0E9C93FB}"/>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Randolph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D843F76-ACCD-876A-E7E9-E12AA077F4DC}"/>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6A5C9D0F-7F0C-002C-5ABA-F011CD78AD5A}"/>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5E6F1688-81D1-0F49-6CD0-060416CC70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5557" y="1039496"/>
            <a:ext cx="7604686" cy="5377708"/>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EFE1DE46-4E3D-DEC5-0BAC-7D970EE074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60A0149A-26D4-FDAF-1351-F975F619FD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BF2DEC98-78BE-F620-CD0C-90DCA34F5CF0}"/>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744B61F9-FACC-AB02-D549-7ED9B566F9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185293A4-3541-C8D7-69A9-F69E3277F864}"/>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E0876837-702E-6413-5647-9ECFCD5585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1"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62EFA2A6-8BA1-9A64-DCF5-2BD269FE4A05}"/>
              </a:ext>
            </a:extLst>
          </p:cNvPr>
          <p:cNvPicPr/>
          <p:nvPr/>
        </p:nvPicPr>
        <p:blipFill>
          <a:blip r:embed="rId2"/>
          <a:stretch>
            <a:fillRect/>
          </a:stretch>
        </p:blipFill>
        <p:spPr>
          <a:xfrm>
            <a:off x="152400" y="1777637"/>
            <a:ext cx="5289974" cy="3787140"/>
          </a:xfrm>
          <a:prstGeom prst="rect">
            <a:avLst/>
          </a:prstGeom>
        </p:spPr>
      </p:pic>
      <p:pic>
        <p:nvPicPr>
          <p:cNvPr id="6" name="Picture 5" descr="Map&#10;&#10;Description automatically generated">
            <a:extLst>
              <a:ext uri="{FF2B5EF4-FFF2-40B4-BE49-F238E27FC236}">
                <a16:creationId xmlns:a16="http://schemas.microsoft.com/office/drawing/2014/main" id="{93A16A40-F0BE-507C-0857-DA45934932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1"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EAEC6FD-3E19-20C0-7725-F0FEF4EF1247}"/>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19680903-048B-4826-F040-3AB60E62A9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5C655D3-9161-C8F0-8B01-29B07D51FD82}"/>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1019291D-6003-FA09-A091-974EBE8FC1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3FA8F8D9-E63B-87E2-FE54-8FC1CD319347}"/>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5693CC52-9158-BCDB-4A67-1DFCB06AE6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F116392-7159-E57F-5F9F-2BAB68FD1EE3}"/>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44D01969-3D1B-93F6-3597-86A3C62937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78EF0E6-337F-0D76-872B-74970E11C023}"/>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8A5415FE-7E77-FC27-6DAC-3A36FC554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5453" y="1408742"/>
            <a:ext cx="6394147" cy="4521666"/>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B351D9E-68BD-10E2-08B2-3E12C67DA46B}"/>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4E4B7635-8630-372F-B293-E6EBB84EE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935" y="1411683"/>
            <a:ext cx="6396665" cy="4523447"/>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004F5B3-0DAF-0C00-9DD2-4316B2B5A304}"/>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7A1D1105-3992-02D4-093C-9142933A0D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3E626E8-A4F1-1367-F4AE-772D544811F7}"/>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DE7DBAB0-C867-2A3A-3FF8-4BF80F1D3C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4"/>
            <a:ext cx="6400801"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1058FA3-B3B0-AC3E-AE89-6631B2F9B9ED}"/>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41953085-5979-0AD5-63B2-D9BA99C1CF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10F73B2-C1E7-834B-3590-B20E3DC10070}"/>
              </a:ext>
            </a:extLst>
          </p:cNvPr>
          <p:cNvPicPr/>
          <p:nvPr/>
        </p:nvPicPr>
        <p:blipFill>
          <a:blip r:embed="rId2"/>
          <a:stretch>
            <a:fillRect/>
          </a:stretch>
        </p:blipFill>
        <p:spPr>
          <a:xfrm>
            <a:off x="152400" y="1774368"/>
            <a:ext cx="5309500" cy="3807823"/>
          </a:xfrm>
          <a:prstGeom prst="rect">
            <a:avLst/>
          </a:prstGeom>
        </p:spPr>
      </p:pic>
      <p:pic>
        <p:nvPicPr>
          <p:cNvPr id="7" name="Picture 6" descr="Diagram&#10;&#10;Description automatically generated with medium confidence">
            <a:extLst>
              <a:ext uri="{FF2B5EF4-FFF2-40B4-BE49-F238E27FC236}">
                <a16:creationId xmlns:a16="http://schemas.microsoft.com/office/drawing/2014/main" id="{070E52A5-1C87-88AF-C491-2EF042F6A3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2318764C-5D90-7B4E-62E8-842788CEDE62}"/>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2CEC53D7-8C44-8278-6373-03DE0E9C93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47B4709C-93B6-5CA0-3155-A9CD8647CBA3}"/>
              </a:ext>
            </a:extLst>
          </p:cNvPr>
          <p:cNvPicPr/>
          <p:nvPr/>
        </p:nvPicPr>
        <p:blipFill>
          <a:blip r:embed="rId2"/>
          <a:stretch>
            <a:fillRect/>
          </a:stretch>
        </p:blipFill>
        <p:spPr>
          <a:xfrm>
            <a:off x="156412" y="1783318"/>
            <a:ext cx="5291888" cy="3790406"/>
          </a:xfrm>
          <a:prstGeom prst="rect">
            <a:avLst/>
          </a:prstGeom>
        </p:spPr>
      </p:pic>
      <p:pic>
        <p:nvPicPr>
          <p:cNvPr id="8" name="Picture 7" descr="Diagram, map&#10;&#10;Description automatically generated">
            <a:extLst>
              <a:ext uri="{FF2B5EF4-FFF2-40B4-BE49-F238E27FC236}">
                <a16:creationId xmlns:a16="http://schemas.microsoft.com/office/drawing/2014/main" id="{D5E82322-C69F-B125-2FC4-08478B4BF1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754"/>
            <a:ext cx="6396788" cy="4523534"/>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F855FF63-16F7-37AA-DFFD-D29E1F48F422}"/>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0D735910-9C2B-3C6F-68EE-276FAEFB291F}"/>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1C089692-F484-0BB9-C61E-D22E262C93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0"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691B7D7D-ECE4-CB86-7422-A75DE28FE522}"/>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0BCCD31-693E-0B54-709B-D226BDA3CE05}"/>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8963775-7EDD-FC5F-AB3F-BC884996B5D9}"/>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7159" y="2502602"/>
            <a:ext cx="1198148" cy="2285273"/>
            <a:chOff x="10485745" y="2605038"/>
            <a:chExt cx="1198148" cy="228527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4946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0</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605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605038"/>
              <a:ext cx="0" cy="74442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42019"/>
              <a:ext cx="0" cy="64829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125854"/>
            <a:ext cx="1198148" cy="2444917"/>
            <a:chOff x="2775759" y="2099890"/>
            <a:chExt cx="1198148" cy="244491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998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99890"/>
              <a:ext cx="0" cy="7770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AE91FFB2-BB3F-FE4F-BC43-B3C85B605B41}"/>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525D1C5D-F8F1-4F4B-5E75-80D76F89CA51}"/>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5068244-9761-F202-A975-6CF9078737B0}"/>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B013E07D-0406-AF45-3F9A-828A6C9624B8}"/>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C0C08EB-896F-2DDC-4FD7-E1FB21ABB11C}"/>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240ECDD-CA52-FEDF-5701-B59F54987235}"/>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A130C1D3-DDEE-8698-B53D-17620444B753}"/>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DF35D72B-9F08-84DD-BA71-B651EE5E902A}"/>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29</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63</cp:revision>
  <dcterms:created xsi:type="dcterms:W3CDTF">2022-07-04T13:32:28Z</dcterms:created>
  <dcterms:modified xsi:type="dcterms:W3CDTF">2023-03-14T23:42:09Z</dcterms:modified>
</cp:coreProperties>
</file>